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C62A3051-BF84-4A40-99F1-8F3F06102949}"/>
    <pc:docChg chg="modSld">
      <pc:chgData name="Weigel Stefan (PAR-EPS)" userId="fd3b2067-2981-4ad8-bf3a-d2e1004e4fa8" providerId="ADAL" clId="{C62A3051-BF84-4A40-99F1-8F3F06102949}" dt="2024-06-10T12:19:24.063" v="16" actId="20577"/>
      <pc:docMkLst>
        <pc:docMk/>
      </pc:docMkLst>
      <pc:sldChg chg="modSp mod">
        <pc:chgData name="Weigel Stefan (PAR-EPS)" userId="fd3b2067-2981-4ad8-bf3a-d2e1004e4fa8" providerId="ADAL" clId="{C62A3051-BF84-4A40-99F1-8F3F06102949}" dt="2024-06-10T12:19:24.063" v="16" actId="20577"/>
        <pc:sldMkLst>
          <pc:docMk/>
          <pc:sldMk cId="2378578510" sldId="412"/>
        </pc:sldMkLst>
        <pc:spChg chg="mod">
          <ac:chgData name="Weigel Stefan (PAR-EPS)" userId="fd3b2067-2981-4ad8-bf3a-d2e1004e4fa8" providerId="ADAL" clId="{C62A3051-BF84-4A40-99F1-8F3F06102949}" dt="2024-06-10T12:17:32.345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62A3051-BF84-4A40-99F1-8F3F06102949}" dt="2024-06-10T12:19:24.063" v="16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S)" userId="fd3b2067-2981-4ad8-bf3a-d2e1004e4fa8" providerId="ADAL" clId="{4B46DB56-8236-4DFF-AD3A-85DA5FB070E2}"/>
    <pc:docChg chg="custSel modSld">
      <pc:chgData name="Weigel Stefan (PAR-ES)" userId="fd3b2067-2981-4ad8-bf3a-d2e1004e4fa8" providerId="ADAL" clId="{4B46DB56-8236-4DFF-AD3A-85DA5FB070E2}" dt="2023-06-05T14:35:30.620" v="68" actId="27918"/>
      <pc:docMkLst>
        <pc:docMk/>
      </pc:docMkLst>
      <pc:sldChg chg="modSp mod">
        <pc:chgData name="Weigel Stefan (PAR-ES)" userId="fd3b2067-2981-4ad8-bf3a-d2e1004e4fa8" providerId="ADAL" clId="{4B46DB56-8236-4DFF-AD3A-85DA5FB070E2}" dt="2023-06-05T14:35:30.620" v="68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4B46DB56-8236-4DFF-AD3A-85DA5FB070E2}" dt="2023-06-05T14:33:19.704" v="2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4B46DB56-8236-4DFF-AD3A-85DA5FB070E2}" dt="2023-06-05T14:33:30.628" v="4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4B46DB56-8236-4DFF-AD3A-85DA5FB070E2}" dt="2023-06-05T14:35:06.492" v="63" actId="20577"/>
          <ac:spMkLst>
            <pc:docMk/>
            <pc:sldMk cId="2378578510" sldId="412"/>
            <ac:spMk id="11" creationId="{CAAD78FC-EBAB-42C7-8FC8-FD065083F070}"/>
          </ac:spMkLst>
        </pc:spChg>
        <pc:spChg chg="mod">
          <ac:chgData name="Weigel Stefan (PAR-ES)" userId="fd3b2067-2981-4ad8-bf3a-d2e1004e4fa8" providerId="ADAL" clId="{4B46DB56-8236-4DFF-AD3A-85DA5FB070E2}" dt="2023-06-05T14:33:55.495" v="16" actId="20577"/>
          <ac:spMkLst>
            <pc:docMk/>
            <pc:sldMk cId="2378578510" sldId="412"/>
            <ac:spMk id="12" creationId="{39770BBD-8851-4CD7-9A78-C7E91EAFC859}"/>
          </ac:spMkLst>
        </pc:spChg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29:08.001" v="70" actId="27918"/>
      <pc:docMkLst>
        <pc:docMk/>
      </pc:docMkLst>
      <pc:sldChg chg="modSp mod">
        <pc:chgData name="Weigel Stefan (PAR-ES)" userId="fd3b2067-2981-4ad8-bf3a-d2e1004e4fa8" providerId="ADAL" clId="{A960615E-EB95-4422-B313-59381D4A110F}" dt="2023-06-05T14:29:08.001" v="70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07:36.831" v="6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0788.348130257</c:v>
                </c:pt>
                <c:pt idx="1">
                  <c:v>59139.458787557</c:v>
                </c:pt>
                <c:pt idx="2">
                  <c:v>80430.515989124004</c:v>
                </c:pt>
                <c:pt idx="3">
                  <c:v>80919.956485992006</c:v>
                </c:pt>
                <c:pt idx="4">
                  <c:v>88507.010188442</c:v>
                </c:pt>
                <c:pt idx="5">
                  <c:v>94228.380233599004</c:v>
                </c:pt>
                <c:pt idx="6">
                  <c:v>104413.94504900899</c:v>
                </c:pt>
                <c:pt idx="7">
                  <c:v>105866.530612527</c:v>
                </c:pt>
                <c:pt idx="8">
                  <c:v>105919.77825680999</c:v>
                </c:pt>
                <c:pt idx="9">
                  <c:v>110894.100309484</c:v>
                </c:pt>
                <c:pt idx="10">
                  <c:v>189245.99793238999</c:v>
                </c:pt>
                <c:pt idx="11">
                  <c:v>419626.3877436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I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0C0C0"/>
            </a:solidFill>
          </c:spPr>
          <c:invertIfNegative val="0"/>
          <c:val>
            <c:numRef>
              <c:f>data!$I$4:$I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6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ffluence des voyageurs dans les gares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542035632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’embarquements et de débarquements par jour ouvré en comparaison avec 2018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9" y="6106515"/>
            <a:ext cx="7937248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es 12 gares les plus fréquentées sont représentées, en tenant compte des personnes montant et descendant des trains du chemin de fer; Zürich </a:t>
            </a:r>
            <a:r>
              <a:rPr lang="fr-FR" sz="1000" kern="0" dirty="0">
                <a:solidFill>
                  <a:srgbClr val="444444"/>
                </a:solidFill>
                <a:latin typeface="SBB Light"/>
              </a:rPr>
              <a:t>HB: sans SZU; 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rn: sans RBS; Basel SBB et Genève: les personnes montant et descendant des trains de et vers l’étranger ne sont que </a:t>
            </a: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artiellement recensées; 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Stadelhofen: sans FB; Biel/Bienne: sans ASM. Référence: années d’horaire 2018 et 2023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1C645BA6-622E-4310-8A7A-A3D6D6479C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96e82a89-ba48-4728-b345-cf206dbec8f1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ce des voyageurs dans les gares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ce des voyageurs dans les gares en 2023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4-06-10T12:2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